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508" r:id="rId2"/>
  </p:sldIdLst>
  <p:sldSz cx="9144000" cy="6858000" type="screen4x3"/>
  <p:notesSz cx="6797675" cy="9928225"/>
  <p:custDataLst>
    <p:tags r:id="rId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16" clrIdx="0"/>
  <p:cmAuthor id="1" name="Комлик Олег Геннадьевич" initials="КОГ" lastIdx="8" clrIdx="1">
    <p:extLst>
      <p:ext uri="{19B8F6BF-5375-455C-9EA6-DF929625EA0E}">
        <p15:presenceInfo xmlns:p15="http://schemas.microsoft.com/office/powerpoint/2012/main" userId="Комлик Олег Геннадьевич" providerId="None"/>
      </p:ext>
    </p:extLst>
  </p:cmAuthor>
  <p:cmAuthor id="2" name="KZ" initials="K" lastIdx="7" clrIdx="2">
    <p:extLst>
      <p:ext uri="{19B8F6BF-5375-455C-9EA6-DF929625EA0E}">
        <p15:presenceInfo xmlns:p15="http://schemas.microsoft.com/office/powerpoint/2012/main" userId="K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817F"/>
    <a:srgbClr val="3E5057"/>
    <a:srgbClr val="8BC540"/>
    <a:srgbClr val="DCDEE0"/>
    <a:srgbClr val="CACCCB"/>
    <a:srgbClr val="F2F3F2"/>
    <a:srgbClr val="ABBCC3"/>
    <a:srgbClr val="FFFFFF"/>
    <a:srgbClr val="2E3C41"/>
    <a:srgbClr val="EA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5880" autoAdjust="0"/>
  </p:normalViewPr>
  <p:slideViewPr>
    <p:cSldViewPr snapToGrid="0">
      <p:cViewPr varScale="1">
        <p:scale>
          <a:sx n="57" d="100"/>
          <a:sy n="57" d="100"/>
        </p:scale>
        <p:origin x="1238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6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6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09.06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335"/>
            <a:ext cx="2946400" cy="497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335"/>
            <a:ext cx="2946400" cy="4972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fld id="{66ED5F50-9CB4-4354-93D5-81E7382320EB}" type="datetimeFigureOut">
              <a:rPr lang="ru-RU" smtClean="0"/>
              <a:pPr/>
              <a:t>09.06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7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6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 smtClean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361506" y="1198816"/>
            <a:ext cx="8420988" cy="4460369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 smtClean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167752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808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7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609811"/>
            <a:ext cx="8136000" cy="1384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419834"/>
            <a:ext cx="8136000" cy="1384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9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  <a:endParaRPr lang="ru-RU" dirty="0"/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7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402341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ADF0B63-64DC-4B11-86A1-545D60ACF3CF}" type="datetimeFigureOut">
              <a:rPr lang="ru-RU" smtClean="0"/>
              <a:pPr/>
              <a:t>09.06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F49B0E5-A3FC-465D-9271-12E2BD48A1D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863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48138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4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7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7200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8754110" y="6613273"/>
            <a:ext cx="288000" cy="131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1" r:id="rId2"/>
    <p:sldLayoutId id="2147483653" r:id="rId3"/>
    <p:sldLayoutId id="214748365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360000" y="6545341"/>
            <a:ext cx="8136000" cy="138499"/>
          </a:xfrm>
        </p:spPr>
        <p:txBody>
          <a:bodyPr/>
          <a:lstStyle/>
          <a:p>
            <a:r>
              <a:rPr lang="ru-RU" baseline="30000" dirty="0" smtClean="0"/>
              <a:t>1</a:t>
            </a:r>
            <a:r>
              <a:rPr lang="ru-RU" dirty="0" smtClean="0"/>
              <a:t> Перечень застройщиков приведен на слайде </a:t>
            </a:r>
            <a:r>
              <a:rPr lang="en-US" dirty="0"/>
              <a:t>2</a:t>
            </a: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307777"/>
          </a:xfrm>
        </p:spPr>
        <p:txBody>
          <a:bodyPr/>
          <a:lstStyle/>
          <a:p>
            <a:r>
              <a:rPr lang="ru-RU" dirty="0" smtClean="0"/>
              <a:t>Значения базовых ставок ДОМ.РФ и РОССИЙСКОГО КАПИТАЛА</a:t>
            </a:r>
            <a:endParaRPr lang="ru-RU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/>
          </p:nvPr>
        </p:nvGraphicFramePr>
        <p:xfrm>
          <a:off x="360363" y="588963"/>
          <a:ext cx="8420100" cy="6003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3" name="Лист" r:id="rId3" imgW="8420044" imgH="5753160" progId="Excel.Sheet.12">
                  <p:embed/>
                </p:oleObj>
              </mc:Choice>
              <mc:Fallback>
                <p:oleObj name="Лист" r:id="rId3" imgW="8420044" imgH="5753160" progId="Excel.Sheet.12">
                  <p:embed/>
                  <p:pic>
                    <p:nvPicPr>
                      <p:cNvPr id="6" name="Объект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0363" y="588963"/>
                        <a:ext cx="8420100" cy="6003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Стрелка вниз 6"/>
          <p:cNvSpPr>
            <a:spLocks noChangeAspect="1"/>
          </p:cNvSpPr>
          <p:nvPr/>
        </p:nvSpPr>
        <p:spPr>
          <a:xfrm>
            <a:off x="5511884" y="2393354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8" name="Стрелка вниз 7"/>
          <p:cNvSpPr>
            <a:spLocks noChangeAspect="1"/>
          </p:cNvSpPr>
          <p:nvPr/>
        </p:nvSpPr>
        <p:spPr>
          <a:xfrm>
            <a:off x="5511884" y="2114909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0" name="Стрелка вниз 9"/>
          <p:cNvSpPr>
            <a:spLocks noChangeAspect="1"/>
          </p:cNvSpPr>
          <p:nvPr/>
        </p:nvSpPr>
        <p:spPr>
          <a:xfrm>
            <a:off x="5511884" y="1836465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1" name="Стрелка вниз 10"/>
          <p:cNvSpPr>
            <a:spLocks noChangeAspect="1"/>
          </p:cNvSpPr>
          <p:nvPr/>
        </p:nvSpPr>
        <p:spPr>
          <a:xfrm>
            <a:off x="5511884" y="1483763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2" name="Стрелка вниз 11"/>
          <p:cNvSpPr>
            <a:spLocks noChangeAspect="1"/>
          </p:cNvSpPr>
          <p:nvPr/>
        </p:nvSpPr>
        <p:spPr>
          <a:xfrm>
            <a:off x="5511884" y="1221989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5" name="Стрелка вниз 14"/>
          <p:cNvSpPr>
            <a:spLocks noChangeAspect="1"/>
          </p:cNvSpPr>
          <p:nvPr/>
        </p:nvSpPr>
        <p:spPr>
          <a:xfrm>
            <a:off x="5511884" y="928525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6" name="Стрелка вниз 15"/>
          <p:cNvSpPr>
            <a:spLocks noChangeAspect="1"/>
          </p:cNvSpPr>
          <p:nvPr/>
        </p:nvSpPr>
        <p:spPr>
          <a:xfrm>
            <a:off x="5511884" y="3302404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3" name="Стрелка вниз 12"/>
          <p:cNvSpPr>
            <a:spLocks noChangeAspect="1"/>
          </p:cNvSpPr>
          <p:nvPr/>
        </p:nvSpPr>
        <p:spPr>
          <a:xfrm>
            <a:off x="5511884" y="3021178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7" name="Стрелка вниз 16"/>
          <p:cNvSpPr>
            <a:spLocks noChangeAspect="1"/>
          </p:cNvSpPr>
          <p:nvPr/>
        </p:nvSpPr>
        <p:spPr>
          <a:xfrm>
            <a:off x="5511884" y="2733513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8" name="Стрелка вниз 17"/>
          <p:cNvSpPr>
            <a:spLocks noChangeAspect="1"/>
          </p:cNvSpPr>
          <p:nvPr/>
        </p:nvSpPr>
        <p:spPr>
          <a:xfrm>
            <a:off x="5511884" y="6030994"/>
            <a:ext cx="144000" cy="174188"/>
          </a:xfrm>
          <a:prstGeom prst="downArrow">
            <a:avLst/>
          </a:prstGeom>
          <a:solidFill>
            <a:schemeClr val="accent6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1362879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9501</TotalTime>
  <Words>14</Words>
  <Application>Microsoft Office PowerPoint</Application>
  <PresentationFormat>Экран (4:3)</PresentationFormat>
  <Paragraphs>2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ahoma</vt:lpstr>
      <vt:lpstr>Тема Office</vt:lpstr>
      <vt:lpstr>think-cell Slide</vt:lpstr>
      <vt:lpstr>Лист</vt:lpstr>
      <vt:lpstr>Значения базовых ставок ДОМ.РФ и РОССИЙСКОГО КАПИТАЛ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  Материалы ко встрече с И.И. Ивановым  9 августа 2016 г.</dc:title>
  <dc:creator>Туманов Андрей Анатольевич</dc:creator>
  <cp:lastModifiedBy>Людмила Дорошенко</cp:lastModifiedBy>
  <cp:revision>2366</cp:revision>
  <cp:lastPrinted>2018-03-28T14:00:34Z</cp:lastPrinted>
  <dcterms:created xsi:type="dcterms:W3CDTF">2017-03-22T09:24:22Z</dcterms:created>
  <dcterms:modified xsi:type="dcterms:W3CDTF">2018-06-09T03:02:49Z</dcterms:modified>
</cp:coreProperties>
</file>